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9"/>
  </p:notesMasterIdLst>
  <p:handoutMasterIdLst>
    <p:handoutMasterId r:id="rId10"/>
  </p:handoutMasterIdLst>
  <p:sldIdLst>
    <p:sldId id="256" r:id="rId4"/>
    <p:sldId id="321" r:id="rId5"/>
    <p:sldId id="346" r:id="rId6"/>
    <p:sldId id="344" r:id="rId7"/>
    <p:sldId id="348" r:id="rId8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14" autoAdjust="0"/>
  </p:normalViewPr>
  <p:slideViewPr>
    <p:cSldViewPr showGuides="1">
      <p:cViewPr>
        <p:scale>
          <a:sx n="68" d="100"/>
          <a:sy n="68" d="100"/>
        </p:scale>
        <p:origin x="-528" y="270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microsoft.com/office/2016/11/relationships/changesInfo" Target="changesInfos/changesInfo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ernando Brandao" userId="98fd82832e5e8854" providerId="LiveId" clId="{34A35D82-E50D-40C5-AE13-6F86E0B975D0}"/>
  </pc:docChgLst>
  <pc:docChgLst>
    <pc:chgData name="Fernando Brandao" userId="98fd82832e5e8854" providerId="LiveId" clId="{4A275135-4C01-4FCA-B794-9C2DE9918CC3}"/>
  </pc:docChgLst>
  <pc:docChgLst>
    <pc:chgData name="Gerson Santos" userId="6c4494c9-e300-475e-8570-19c96c3d8172" providerId="ADAL" clId="{D4EC3150-327C-4688-8FC6-2CAE0B207AE9}"/>
    <pc:docChg chg="modSld">
      <pc:chgData name="Gerson Santos" userId="6c4494c9-e300-475e-8570-19c96c3d8172" providerId="ADAL" clId="{D4EC3150-327C-4688-8FC6-2CAE0B207AE9}" dt="2019-07-30T16:10:42.336" v="16" actId="20577"/>
      <pc:docMkLst>
        <pc:docMk/>
      </pc:docMkLst>
      <pc:sldChg chg="modSp">
        <pc:chgData name="Gerson Santos" userId="6c4494c9-e300-475e-8570-19c96c3d8172" providerId="ADAL" clId="{D4EC3150-327C-4688-8FC6-2CAE0B207AE9}" dt="2019-07-30T16:10:42.336" v="16" actId="20577"/>
        <pc:sldMkLst>
          <pc:docMk/>
          <pc:sldMk cId="3555918169" sldId="321"/>
        </pc:sldMkLst>
        <pc:spChg chg="mod">
          <ac:chgData name="Gerson Santos" userId="6c4494c9-e300-475e-8570-19c96c3d8172" providerId="ADAL" clId="{D4EC3150-327C-4688-8FC6-2CAE0B207AE9}" dt="2019-07-30T16:10:42.336" v="16" actId="20577"/>
          <ac:spMkLst>
            <pc:docMk/>
            <pc:sldMk cId="3555918169" sldId="321"/>
            <ac:spMk id="5" creationId="{00000000-0000-0000-0000-000000000000}"/>
          </ac:spMkLst>
        </pc:spChg>
      </pc:sldChg>
    </pc:docChg>
  </pc:docChgLst>
  <pc:docChgLst>
    <pc:chgData name="Fernando Brandao" userId="98fd82832e5e8854" providerId="LiveId" clId="{4778F66F-A0C7-4DEB-9192-4251172539FB}"/>
  </pc:docChgLst>
  <pc:docChgLst>
    <pc:chgData name="Fernando Brandao" userId="98fd82832e5e8854" providerId="LiveId" clId="{DB6130DC-7DFE-4F49-9E2C-C5F1B20DDDB1}"/>
  </pc:docChgLst>
  <pc:docChgLst>
    <pc:chgData name="Fernando Brandao" userId="98fd82832e5e8854" providerId="LiveId" clId="{5BC8178E-F97A-43B8-B01C-B7A69C6AA1DE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17/09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628010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17/09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21378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2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Time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O </a:t>
            </a:r>
            <a:r>
              <a:rPr lang="pt-BR" sz="2400" b="1" dirty="0" smtClean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- ILLUMY</a:t>
            </a:r>
            <a:endParaRPr lang="pt-BR" sz="2400" b="1" dirty="0">
              <a:solidFill>
                <a:srgbClr val="2537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pt-BR" sz="2400" b="1" dirty="0">
              <a:solidFill>
                <a:srgbClr val="2537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anca Barranco 01191072</a:t>
            </a:r>
            <a:endParaRPr lang="pt-BR" sz="2400" dirty="0">
              <a:solidFill>
                <a:srgbClr val="2537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no Almeid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sio Pereir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lherme </a:t>
            </a:r>
            <a:r>
              <a:rPr lang="pt-BR" sz="2400" dirty="0" err="1" smtClean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gardi</a:t>
            </a:r>
            <a:r>
              <a:rPr lang="pt-BR" sz="2400" dirty="0" smtClean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01191056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stavo Machado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as Abreu 01191094</a:t>
            </a:r>
            <a:endParaRPr lang="pt-BR" sz="2400" dirty="0">
              <a:solidFill>
                <a:srgbClr val="2537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918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3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Atividade 01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Reunião de Retrospectiva da Sprint Passada (Grupos Novos)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Montar um PPT com os seguintes slides. 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Foco: Planejamento/Gestão do Tempo, Execução, Metodologia de Trabalho, Riscos/Imprevistos. 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s itens socioemocionais serão trabalhados pelo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Profª</a:t>
            </a: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 Vera. 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não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Plano de Ação para este semestre.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443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</a:t>
            </a:r>
            <a:r>
              <a:rPr lang="pt-BR" sz="3087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ILLUMY </a:t>
            </a: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– REUNIÃO DE RETROSPECTIVA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556020" y="207407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urto praz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824931" y="3285696"/>
            <a:ext cx="214977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decisão/dificuldade para encontrar uma inovação</a:t>
            </a:r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6289845" y="2010632"/>
            <a:ext cx="2170995" cy="127506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r conta do tempo, o site institucional não atingiu nossas expectativas</a:t>
            </a:r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801759" y="3130202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çã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9534248" y="2010633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balho em equipe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9730001" y="4396809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juda mútua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986584" y="5486600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</a:t>
            </a:r>
            <a:r>
              <a:rPr lang="pt-BR" sz="3087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ILLUMY </a:t>
            </a: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– </a:t>
            </a: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LANO DE AÇÃO</a:t>
            </a:r>
            <a:endParaRPr lang="pt-BR" sz="3087" dirty="0">
              <a:solidFill>
                <a:schemeClr val="tx1">
                  <a:lumMod val="75000"/>
                  <a:lumOff val="2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5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556020" y="207407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urto praz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824931" y="3285696"/>
            <a:ext cx="214977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decisão/dificuldade para encontrar uma inovação</a:t>
            </a:r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5701185" y="2059851"/>
            <a:ext cx="2170995" cy="127506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r conta do tempo, o site institucional não atingiu nossas expectativas</a:t>
            </a:r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801759" y="3130202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çã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9534248" y="2010633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balho em equipe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9730001" y="4396809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juda mútua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986584" y="5486600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970004" y="1692399"/>
            <a:ext cx="1511111" cy="734905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 planejament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672803" y="4003419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ior embasamento nas pesquisas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4824762" y="3184363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 planejamento 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1203348" y="1550975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a colaboraçã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9440963" y="3151811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curar expor as dificuldades e opiniões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1483388" y="4158913"/>
            <a:ext cx="1545621" cy="917862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o apoio e auxiliar uns aos outros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024231" y="6166206"/>
            <a:ext cx="2358234" cy="70303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 smtClean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er envolvimento e responsabilidade com o projeto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67993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83</TotalTime>
  <Words>189</Words>
  <Application>Microsoft Office PowerPoint</Application>
  <PresentationFormat>Personalizar</PresentationFormat>
  <Paragraphs>54</Paragraphs>
  <Slides>5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9" baseType="lpstr"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Lg</cp:lastModifiedBy>
  <cp:revision>188</cp:revision>
  <dcterms:created xsi:type="dcterms:W3CDTF">2016-12-01T16:19:35Z</dcterms:created>
  <dcterms:modified xsi:type="dcterms:W3CDTF">2019-09-17T12:25:56Z</dcterms:modified>
</cp:coreProperties>
</file>